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  <p:sldMasterId id="2147483710" r:id="rId6"/>
    <p:sldMasterId id="2147483728" r:id="rId7"/>
  </p:sldMasterIdLst>
  <p:notesMasterIdLst>
    <p:notesMasterId r:id="rId13"/>
  </p:notesMasterIdLst>
  <p:handoutMasterIdLst>
    <p:handoutMasterId r:id="rId14"/>
  </p:handoutMasterIdLst>
  <p:sldIdLst>
    <p:sldId id="421" r:id="rId8"/>
    <p:sldId id="616" r:id="rId9"/>
    <p:sldId id="620" r:id="rId10"/>
    <p:sldId id="619" r:id="rId11"/>
    <p:sldId id="584" r:id="rId12"/>
  </p:sldIdLst>
  <p:sldSz cx="12192000" cy="6858000"/>
  <p:notesSz cx="6858000" cy="9144000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65" autoAdjust="0"/>
    <p:restoredTop sz="93883" autoAdjust="0"/>
  </p:normalViewPr>
  <p:slideViewPr>
    <p:cSldViewPr snapToGrid="0">
      <p:cViewPr varScale="1">
        <p:scale>
          <a:sx n="73" d="100"/>
          <a:sy n="73" d="100"/>
        </p:scale>
        <p:origin x="924" y="7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10-1-2020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0-1-2020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44435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14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04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6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39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76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8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6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4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7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2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1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6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80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893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1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8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1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19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3078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9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 Alignment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Nov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044260"/>
              </p:ext>
            </p:extLst>
          </p:nvPr>
        </p:nvGraphicFramePr>
        <p:xfrm>
          <a:off x="381217" y="620204"/>
          <a:ext cx="11429562" cy="1990191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0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nage Order Interfac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IN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 startAt="2"/>
                        <a:tabLst/>
                      </a:pP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3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398392"/>
              </p:ext>
            </p:extLst>
          </p:nvPr>
        </p:nvGraphicFramePr>
        <p:xfrm>
          <a:off x="143690" y="666212"/>
          <a:ext cx="11469189" cy="5181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5869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2918148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1817795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2560883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2716494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</a:tblGrid>
              <a:tr h="1002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ttribute Nam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Discussion –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Dec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ction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Discussion – 18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Dec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Impact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Legal Party Name (Nativ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PQ does not need to pass this attribute to Siebel . Siebel will get this info from C4C – Siebel interface.</a:t>
                      </a:r>
                      <a:endParaRPr lang="en-GB" sz="10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onfirmed with Amar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NA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771230062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Legal Address (Native)</a:t>
                      </a:r>
                      <a:endParaRPr lang="en-GB" sz="10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PQ does not need to pass this attribute to Siebel . Siebel will get this info from C4C – Siebel interface.</a:t>
                      </a:r>
                      <a:endParaRPr lang="en-GB" sz="10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onfirmed with Amar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NA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78577595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ervice Party Name (Nativ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o this to Siebel . This is mapped with Company name in CPQ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for both A End and B End (as applicabl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– Accept and store at correct pl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97591702"/>
                  </a:ext>
                </a:extLst>
              </a:tr>
              <a:tr h="50127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ite Address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Street Name (Native) 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City/Town (Native) </a:t>
                      </a:r>
                      <a:endParaRPr lang="en-GB" sz="100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tate (Native) </a:t>
                      </a:r>
                      <a:endParaRPr lang="en-GB" sz="100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uilding Name (Native) 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for both A End and B End (as applicabl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– Accept and store at correct pl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6719839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ite Contact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-First Name (Native) Last Name (Native) 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for both A End and B End (as applicabl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– Accept and store at correct pl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74211197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ustomer Building Name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for both A End and B End (as applicabl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– Accept and store at correct pl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858676835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ustomer Building Name (Native)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for both A End and B End (as applicable)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– Accept and store at correct pl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27846405"/>
                  </a:ext>
                </a:extLst>
              </a:tr>
              <a:tr h="20051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ill Cust Ref Order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BAU. This field is already been send from CPQ to Siebel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No chang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17382100"/>
                  </a:ext>
                </a:extLst>
              </a:tr>
              <a:tr h="20051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ill PO Number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BAU. This field is already been send from CPQ to Siebel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No chang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065209211"/>
                  </a:ext>
                </a:extLst>
              </a:tr>
              <a:tr h="20051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UBB Tariff Name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BAU. This field is already been send from CPQ to Siebel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gree with the discussion on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No change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63630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291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4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471330"/>
              </p:ext>
            </p:extLst>
          </p:nvPr>
        </p:nvGraphicFramePr>
        <p:xfrm>
          <a:off x="143690" y="666212"/>
          <a:ext cx="11469189" cy="3505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5869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2918148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1817795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2560883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2716494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</a:tblGrid>
              <a:tr h="1002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ttribute Nam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Discussion – 17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Dec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ction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Discussion – 18</a:t>
                      </a:r>
                      <a:r>
                        <a:rPr lang="en-GB" sz="1000" baseline="30000">
                          <a:effectLst/>
                        </a:rPr>
                        <a:t>th</a:t>
                      </a:r>
                      <a:r>
                        <a:rPr lang="en-GB" sz="1000">
                          <a:effectLst/>
                        </a:rPr>
                        <a:t> Dec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Impact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50127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Relay </a:t>
                      </a:r>
                      <a:r>
                        <a:rPr lang="en-US" sz="1000" dirty="0" err="1">
                          <a:effectLst/>
                        </a:rPr>
                        <a:t>Fibre</a:t>
                      </a:r>
                      <a:endParaRPr lang="en-GB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To be confirmed with Vivek Hr/Gaurav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As per Amrendra, </a:t>
                      </a:r>
                      <a:r>
                        <a:rPr lang="en-US" sz="1000">
                          <a:effectLst/>
                        </a:rPr>
                        <a:t>this field calculated in Siebel</a:t>
                      </a:r>
                      <a:endParaRPr lang="en-GB" sz="10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Check with Sourav Dasgupta whether it will be automatically calculated for Manage Order. If it can be auto calculated , CPQ should not be sending this info Siebel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  <a:r>
                        <a:rPr lang="en-GB" sz="1000" dirty="0" smtClean="0">
                          <a:effectLst/>
                        </a:rPr>
                        <a:t>Siebel to confirm the impact in LLD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45302862"/>
                  </a:ext>
                </a:extLst>
              </a:tr>
              <a:tr h="50127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rdering Party Address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-Street Name (N) City/Town (N) State (N) Building Name (N) 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CPQ does not need to send Ordering party Address( Asia) to Siebel</a:t>
                      </a:r>
                      <a:endParaRPr lang="en-GB" sz="1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Ordering Party Address (English) – Captured in Siebel manually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Check whether CPQ sends the Ordering Party Contact to Siebel?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Who update the Ordering Party Address in Siebel(to be checked)?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  <a:r>
                        <a:rPr lang="en-GB" sz="1000" dirty="0" smtClean="0">
                          <a:effectLst/>
                        </a:rPr>
                        <a:t>OP Address will not </a:t>
                      </a:r>
                      <a:r>
                        <a:rPr lang="en-GB" sz="1000" smtClean="0">
                          <a:effectLst/>
                        </a:rPr>
                        <a:t>be send</a:t>
                      </a:r>
                      <a:r>
                        <a:rPr lang="en-GB" sz="1000" baseline="0" smtClean="0">
                          <a:effectLst/>
                        </a:rPr>
                        <a:t> from CPQ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25163305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MO Charges RC</a:t>
                      </a:r>
                      <a:endParaRPr lang="en-GB" sz="100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MO Charges NRC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onfirmed with Sourav Dasgupta , Siebel expects BMO charges for Hong Kong from CPQ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to Seibel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has raised a CR to handle this. Check with Abrar on delivery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hange required in CPQ – Siebel interface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58826177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esiliency 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For Wave , CPQ will send a new value ‘Backbone Protected’ in the resiliency attribute.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CPQ has to send this info to Seibel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Siebel has raised a CR to handle this. Check with Abrar on delivery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Change required in CPQ – Siebel interface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02660042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erformance Reporting </a:t>
                      </a:r>
                      <a:endParaRPr lang="en-GB" sz="10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For Wave product, PR will be added as a new feature. This feature is not present in Wave product model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Performance reporting is present in Siebel Live environment. Product Model update is required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</a:rPr>
                        <a:t> </a:t>
                      </a:r>
                      <a:endParaRPr lang="en-GB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CPQ has to send PR to Siebel when selected in the Wave </a:t>
                      </a:r>
                      <a:r>
                        <a:rPr lang="en-GB" sz="1000" dirty="0" err="1">
                          <a:effectLst/>
                        </a:rPr>
                        <a:t>config</a:t>
                      </a:r>
                      <a:r>
                        <a:rPr lang="en-GB" sz="1000" dirty="0">
                          <a:effectLst/>
                        </a:rPr>
                        <a:t> </a:t>
                      </a:r>
                      <a:r>
                        <a:rPr lang="en-GB" sz="1000" dirty="0" smtClean="0">
                          <a:effectLst/>
                        </a:rPr>
                        <a:t>journey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000" dirty="0" smtClean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 smtClean="0">
                          <a:effectLst/>
                        </a:rPr>
                        <a:t>Product Model change required to reflect what is already in</a:t>
                      </a:r>
                      <a:r>
                        <a:rPr lang="en-GB" sz="1000" baseline="0" dirty="0" smtClean="0">
                          <a:effectLst/>
                        </a:rPr>
                        <a:t> </a:t>
                      </a:r>
                      <a:r>
                        <a:rPr lang="en-GB" sz="1000" baseline="0" dirty="0" err="1" smtClean="0">
                          <a:effectLst/>
                        </a:rPr>
                        <a:t>siebel</a:t>
                      </a:r>
                      <a:endParaRPr lang="en-GB" sz="1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</a:rPr>
                        <a:t> 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5094826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7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A55515-6302-4B67-B9B0-F11CD9E32D11}">
  <ds:schemaRefs>
    <ds:schemaRef ds:uri="bfb1d42a-be00-49d6-98c3-ab38162f85f2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450c2c13-7744-47da-b0b3-ec9a261364d9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D6B9490-E1FC-4770-9817-60D21D1E62D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379B9B-953D-4F91-BAF5-43F1184F3E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0c2c13-7744-47da-b0b3-ec9a261364d9"/>
    <ds:schemaRef ds:uri="bfb1d42a-be00-49d6-98c3-ab38162f8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846</TotalTime>
  <Words>708</Words>
  <Application>Microsoft Office PowerPoint</Application>
  <PresentationFormat>Widescreen</PresentationFormat>
  <Paragraphs>13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Times New Roman</vt:lpstr>
      <vt:lpstr>Wingdings</vt:lpstr>
      <vt:lpstr>Corporate template-set COLT</vt:lpstr>
      <vt:lpstr>1_Corporate template-set COLT</vt:lpstr>
      <vt:lpstr>2_Corporate template-set COLT</vt:lpstr>
      <vt:lpstr>3_Corporate template-set COLT</vt:lpstr>
      <vt:lpstr>think-cell Slide</vt:lpstr>
      <vt:lpstr>CPQ – Asia Alignment  Design and Mock Up Nov ‘19</vt:lpstr>
      <vt:lpstr>Document Release and Change Log Details</vt:lpstr>
      <vt:lpstr>Manage Order Interface </vt:lpstr>
      <vt:lpstr>Manage Order Interface 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767</cp:revision>
  <dcterms:created xsi:type="dcterms:W3CDTF">2017-08-30T16:21:34Z</dcterms:created>
  <dcterms:modified xsi:type="dcterms:W3CDTF">2020-01-10T06:5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